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7" r:id="rId2"/>
    <p:sldMasterId id="2147483672" r:id="rId3"/>
  </p:sldMasterIdLst>
  <p:sldIdLst>
    <p:sldId id="262" r:id="rId4"/>
    <p:sldId id="263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3" autoAdjust="0"/>
    <p:restoredTop sz="94689"/>
  </p:normalViewPr>
  <p:slideViewPr>
    <p:cSldViewPr snapToGrid="0" snapToObjects="1" showGuides="1">
      <p:cViewPr varScale="1">
        <p:scale>
          <a:sx n="110" d="100"/>
          <a:sy n="110" d="100"/>
        </p:scale>
        <p:origin x="138" y="2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ark Backgrou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525171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6858000"/>
          </a:xfrm>
          <a:solidFill>
            <a:schemeClr val="bg1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383FD6-26B7-7649-9D2F-2481460B8A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4890" y="369982"/>
            <a:ext cx="4267284" cy="761979"/>
          </a:xfrm>
        </p:spPr>
        <p:txBody>
          <a:bodyPr anchor="b"/>
          <a:lstStyle>
            <a:lvl1pPr algn="r">
              <a:lnSpc>
                <a:spcPct val="85000"/>
              </a:lnSpc>
              <a:defRPr sz="1693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EDIT </a:t>
            </a: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243436" y="222816"/>
            <a:ext cx="1706808" cy="857284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8136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9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ef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175753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09844D38-0707-D040-9F57-DD207CC4DD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3BB8D3A-E485-CB44-9277-D108034143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3225" y="1058922"/>
            <a:ext cx="4267800" cy="4858717"/>
          </a:xfrm>
          <a:prstGeom prst="rect">
            <a:avLst/>
          </a:prstGeom>
        </p:spPr>
        <p:txBody>
          <a:bodyPr/>
          <a:lstStyle>
            <a:lvl1pPr>
              <a:spcAft>
                <a:spcPts val="847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847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847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847"/>
              </a:spcAft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670B3DA3-FD1E-184D-AD00-B1FF533BFB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225" y="493037"/>
            <a:ext cx="4267800" cy="421364"/>
          </a:xfrm>
        </p:spPr>
        <p:txBody>
          <a:bodyPr anchor="t" anchorCtr="0"/>
          <a:lstStyle>
            <a:lvl1pPr>
              <a:defRPr sz="1693" b="0" i="0" baseline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086959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 PRINT_Section header righ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670B3DA3-FD1E-184D-AD00-B1FF533BFB99}"/>
              </a:ext>
            </a:extLst>
          </p:cNvPr>
          <p:cNvSpPr txBox="1">
            <a:spLocks/>
          </p:cNvSpPr>
          <p:nvPr userDrawn="1"/>
        </p:nvSpPr>
        <p:spPr>
          <a:xfrm>
            <a:off x="7352989" y="761979"/>
            <a:ext cx="4267800" cy="571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86401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600" b="0" i="0" kern="1200" spc="-10" baseline="0">
                <a:solidFill>
                  <a:schemeClr val="bg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1693"/>
              <a:t>CLICK TO EDIT SLIDE TITLE</a:t>
            </a:r>
            <a:endParaRPr lang="en-US" sz="1693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3BB8D3A-E485-CB44-9277-D108034143EF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254374" y="1058919"/>
            <a:ext cx="4267800" cy="4858717"/>
          </a:xfrm>
          <a:prstGeom prst="rect">
            <a:avLst/>
          </a:prstGeom>
        </p:spPr>
        <p:txBody>
          <a:bodyPr/>
          <a:lstStyle>
            <a:lvl1pPr>
              <a:spcAft>
                <a:spcPts val="847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847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847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847"/>
              </a:spcAft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670B3DA3-FD1E-184D-AD00-B1FF533BFB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54363" y="493036"/>
            <a:ext cx="4267800" cy="551540"/>
          </a:xfrm>
        </p:spPr>
        <p:txBody>
          <a:bodyPr anchor="t" anchorCtr="0"/>
          <a:lstStyle>
            <a:lvl1pPr>
              <a:defRPr sz="1693" b="0" i="0" baseline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807307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642434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83855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9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5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0" y="189658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GB" dirty="0"/>
              <a:t>CLICK TO INSERT DOCUMENT / SECTION TITLE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2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0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0" y="474878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0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017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67140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5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482" b="0" i="0">
                <a:latin typeface="Bentley" panose="020B0504020201020102" pitchFamily="34" charset="77"/>
              </a:defRPr>
            </a:lvl1pPr>
            <a:lvl2pPr marL="285741" indent="-285741">
              <a:lnSpc>
                <a:spcPct val="100000"/>
              </a:lnSpc>
              <a:spcAft>
                <a:spcPts val="212"/>
              </a:spcAft>
              <a:buNone/>
              <a:defRPr sz="1270"/>
            </a:lvl2pPr>
            <a:lvl3pPr marL="285741" indent="-285741">
              <a:lnSpc>
                <a:spcPct val="100000"/>
              </a:lnSpc>
              <a:spcAft>
                <a:spcPts val="212"/>
              </a:spcAft>
              <a:defRPr sz="1270"/>
            </a:lvl3pPr>
            <a:lvl4pPr marL="285741" indent="-285741">
              <a:lnSpc>
                <a:spcPct val="100000"/>
              </a:lnSpc>
              <a:spcAft>
                <a:spcPts val="212"/>
              </a:spcAft>
              <a:defRPr sz="1270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5"/>
            <a:ext cx="11048532" cy="474878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4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482" b="0" i="0">
                <a:latin typeface="Bentley" panose="020B0504020201020102" pitchFamily="34" charset="77"/>
              </a:defRPr>
            </a:lvl1pPr>
            <a:lvl2pPr marL="285741" indent="-285741">
              <a:lnSpc>
                <a:spcPct val="100000"/>
              </a:lnSpc>
              <a:spcAft>
                <a:spcPts val="212"/>
              </a:spcAft>
              <a:buNone/>
              <a:defRPr sz="1270"/>
            </a:lvl2pPr>
            <a:lvl3pPr marL="285741" indent="-285741">
              <a:lnSpc>
                <a:spcPct val="100000"/>
              </a:lnSpc>
              <a:spcAft>
                <a:spcPts val="212"/>
              </a:spcAft>
              <a:defRPr sz="1270"/>
            </a:lvl3pPr>
            <a:lvl4pPr marL="285741" indent="-285741">
              <a:lnSpc>
                <a:spcPct val="100000"/>
              </a:lnSpc>
              <a:spcAft>
                <a:spcPts val="212"/>
              </a:spcAft>
              <a:defRPr sz="1270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8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482" b="0" i="0">
                <a:latin typeface="Bentley" panose="020B0504020201020102" pitchFamily="34" charset="77"/>
              </a:defRPr>
            </a:lvl1pPr>
            <a:lvl2pPr marL="285741" indent="-285741">
              <a:lnSpc>
                <a:spcPct val="100000"/>
              </a:lnSpc>
              <a:spcAft>
                <a:spcPts val="212"/>
              </a:spcAft>
              <a:buNone/>
              <a:defRPr sz="1270"/>
            </a:lvl2pPr>
            <a:lvl3pPr marL="285741" indent="-285741">
              <a:lnSpc>
                <a:spcPct val="100000"/>
              </a:lnSpc>
              <a:spcAft>
                <a:spcPts val="212"/>
              </a:spcAft>
              <a:defRPr sz="1270"/>
            </a:lvl3pPr>
            <a:lvl4pPr marL="285741" indent="-285741">
              <a:lnSpc>
                <a:spcPct val="100000"/>
              </a:lnSpc>
              <a:spcAft>
                <a:spcPts val="212"/>
              </a:spcAft>
              <a:defRPr sz="1270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482" b="0" i="0">
                <a:latin typeface="Bentley" panose="020B0504020201020102" pitchFamily="34" charset="77"/>
              </a:defRPr>
            </a:lvl1pPr>
            <a:lvl2pPr marL="285741" indent="-285741">
              <a:lnSpc>
                <a:spcPct val="100000"/>
              </a:lnSpc>
              <a:spcAft>
                <a:spcPts val="212"/>
              </a:spcAft>
              <a:buNone/>
              <a:defRPr sz="1270"/>
            </a:lvl2pPr>
            <a:lvl3pPr marL="285741" indent="-285741">
              <a:lnSpc>
                <a:spcPct val="100000"/>
              </a:lnSpc>
              <a:spcAft>
                <a:spcPts val="212"/>
              </a:spcAft>
              <a:defRPr sz="1270"/>
            </a:lvl3pPr>
            <a:lvl4pPr marL="285741" indent="-285741">
              <a:lnSpc>
                <a:spcPct val="100000"/>
              </a:lnSpc>
              <a:spcAft>
                <a:spcPts val="212"/>
              </a:spcAft>
              <a:defRPr sz="1270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5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482" b="0" i="0">
                <a:latin typeface="Bentley" panose="020B0504020201020102" pitchFamily="34" charset="77"/>
              </a:defRPr>
            </a:lvl1pPr>
            <a:lvl2pPr marL="285741" indent="-285741">
              <a:lnSpc>
                <a:spcPct val="100000"/>
              </a:lnSpc>
              <a:spcAft>
                <a:spcPts val="212"/>
              </a:spcAft>
              <a:buNone/>
              <a:defRPr sz="1270"/>
            </a:lvl2pPr>
            <a:lvl3pPr marL="285741" indent="-285741">
              <a:lnSpc>
                <a:spcPct val="100000"/>
              </a:lnSpc>
              <a:spcAft>
                <a:spcPts val="212"/>
              </a:spcAft>
              <a:defRPr sz="1270"/>
            </a:lvl3pPr>
            <a:lvl4pPr marL="285741" indent="-285741">
              <a:lnSpc>
                <a:spcPct val="100000"/>
              </a:lnSpc>
              <a:spcAft>
                <a:spcPts val="212"/>
              </a:spcAft>
              <a:defRPr sz="1270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0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2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3882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99862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 userDrawn="1"/>
        </p:nvGraphicFramePr>
        <p:xfrm>
          <a:off x="571211" y="1523814"/>
          <a:ext cx="11048532" cy="313969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82844">
                  <a:extLst>
                    <a:ext uri="{9D8B030D-6E8A-4147-A177-3AD203B41FA5}">
                      <a16:colId xmlns:a16="http://schemas.microsoft.com/office/drawing/2014/main" val="2470516327"/>
                    </a:ext>
                  </a:extLst>
                </a:gridCol>
                <a:gridCol w="3682844">
                  <a:extLst>
                    <a:ext uri="{9D8B030D-6E8A-4147-A177-3AD203B41FA5}">
                      <a16:colId xmlns:a16="http://schemas.microsoft.com/office/drawing/2014/main" val="1105398720"/>
                    </a:ext>
                  </a:extLst>
                </a:gridCol>
                <a:gridCol w="3682844">
                  <a:extLst>
                    <a:ext uri="{9D8B030D-6E8A-4147-A177-3AD203B41FA5}">
                      <a16:colId xmlns:a16="http://schemas.microsoft.com/office/drawing/2014/main" val="3744096915"/>
                    </a:ext>
                  </a:extLst>
                </a:gridCol>
              </a:tblGrid>
              <a:tr h="392462">
                <a:tc>
                  <a:txBody>
                    <a:bodyPr/>
                    <a:lstStyle/>
                    <a:p>
                      <a:r>
                        <a:rPr lang="en-GB" sz="1500" b="0" dirty="0"/>
                        <a:t>TIME</a:t>
                      </a:r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r>
                        <a:rPr lang="en-GB" sz="1500" b="0" dirty="0"/>
                        <a:t>TOPIC</a:t>
                      </a:r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r>
                        <a:rPr lang="en-GB" sz="1500" b="0" dirty="0"/>
                        <a:t>OUTCOMES</a:t>
                      </a:r>
                      <a:r>
                        <a:rPr lang="en-GB" sz="1500" b="0" baseline="0" dirty="0"/>
                        <a:t> / RESPONSIBLE</a:t>
                      </a:r>
                      <a:endParaRPr lang="en-GB" sz="1500" b="0" dirty="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3446564622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2180033793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2658539177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3265653189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2483447301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636856545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2197479844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96770" marR="96770" marT="48386" marB="48386"/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770" marR="96770" marT="48386" marB="48386"/>
                </a:tc>
                <a:extLst>
                  <a:ext uri="{0D108BD9-81ED-4DB2-BD59-A6C34878D82A}">
                    <a16:rowId xmlns:a16="http://schemas.microsoft.com/office/drawing/2014/main" val="1412256150"/>
                  </a:ext>
                </a:extLst>
              </a:tr>
            </a:tbl>
          </a:graphicData>
        </a:graphic>
      </p:graphicFrame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1" y="1939303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1" y="233000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2" y="271381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1" y="310450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0" y="3488559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7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89" y="429110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7" y="194506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7" y="233576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7" y="271957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1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5" y="42968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5" y="194218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5" y="233288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6" y="271669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6" y="310738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4" y="349144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3" y="42939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5" y="261076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0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2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3350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781477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83855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5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0" y="189658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CK TO INSERT DOCUMENT / SECTION TIT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0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 defTabSz="483855">
              <a:defRPr/>
            </a:pPr>
            <a:fld id="{BB1AD9A7-13C2-8C4C-A126-3658DA8EF698}" type="slidenum">
              <a:rPr lang="en-US" sz="1905" smtClean="0">
                <a:solidFill>
                  <a:srgbClr val="FFFFFF"/>
                </a:solidFill>
              </a:rPr>
              <a:pPr defTabSz="483855">
                <a:defRPr/>
              </a:pPr>
              <a:t>‹#›</a:t>
            </a:fld>
            <a:endParaRPr lang="en-US" sz="1905">
              <a:solidFill>
                <a:srgbClr val="FFFFFF"/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2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68329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2184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Light Backgroun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105173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6858000"/>
          </a:xfrm>
          <a:solidFill>
            <a:schemeClr val="bg1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383FD6-26B7-7649-9D2F-2481460B8A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4890" y="369987"/>
            <a:ext cx="4267284" cy="761979"/>
          </a:xfrm>
        </p:spPr>
        <p:txBody>
          <a:bodyPr anchor="b"/>
          <a:lstStyle>
            <a:lvl1pPr algn="r">
              <a:lnSpc>
                <a:spcPct val="85000"/>
              </a:lnSpc>
              <a:defRPr sz="1693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PRESENTATION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243436" y="222813"/>
            <a:ext cx="1706808" cy="857284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1916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9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0125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564230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330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 Dark Background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401245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361" y="1"/>
            <a:ext cx="12188639" cy="6858000"/>
          </a:xfrm>
          <a:solidFill>
            <a:schemeClr val="tx1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4873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9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799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1459551-3BF6-4346-8B81-2830E0087B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800225"/>
            <a:ext cx="9144000" cy="17097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</a:t>
            </a:r>
            <a:r>
              <a:rPr lang="en-GB" dirty="0" smtClean="0"/>
              <a:t>presentation  title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BF296E1-E176-2E46-801D-252974CBD4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</a:t>
            </a:r>
            <a:r>
              <a:rPr lang="en-GB" dirty="0" smtClean="0"/>
              <a:t>presentation subtitle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9EDAD47-E4E8-B746-A631-5ECFB05E0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0"/>
            <a:ext cx="761968" cy="571485"/>
          </a:xfrm>
        </p:spPr>
        <p:txBody>
          <a:bodyPr/>
          <a:lstStyle/>
          <a:p>
            <a:fld id="{E3E463DD-FB9A-7A4D-8B2F-4D4E4268081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243436" y="366253"/>
            <a:ext cx="1706808" cy="857284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0357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2244117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09844D38-0707-D040-9F57-DD207CC4DD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3BB8D3A-E485-CB44-9277-D108034143EF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254375" y="1058921"/>
            <a:ext cx="4267800" cy="4858717"/>
          </a:xfrm>
          <a:prstGeom prst="rect">
            <a:avLst/>
          </a:prstGeom>
        </p:spPr>
        <p:txBody>
          <a:bodyPr/>
          <a:lstStyle>
            <a:lvl1pPr>
              <a:spcAft>
                <a:spcPts val="847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847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847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847"/>
              </a:spcAft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670B3DA3-FD1E-184D-AD00-B1FF533BFB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54363" y="493037"/>
            <a:ext cx="4267800" cy="376540"/>
          </a:xfrm>
        </p:spPr>
        <p:txBody>
          <a:bodyPr anchor="t" anchorCtr="0"/>
          <a:lstStyle>
            <a:lvl1pPr>
              <a:defRPr sz="1693" b="0" i="0" baseline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188729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697738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09844D38-0707-D040-9F57-DD207CC4DD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3BB8D3A-E485-CB44-9277-D108034143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3225" y="1067885"/>
            <a:ext cx="4267800" cy="4858717"/>
          </a:xfrm>
          <a:prstGeom prst="rect">
            <a:avLst/>
          </a:prstGeom>
        </p:spPr>
        <p:txBody>
          <a:bodyPr/>
          <a:lstStyle>
            <a:lvl1pPr>
              <a:spcAft>
                <a:spcPts val="847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847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847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847"/>
              </a:spcAft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670B3DA3-FD1E-184D-AD00-B1FF533BFB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225" y="493036"/>
            <a:ext cx="4267800" cy="551539"/>
          </a:xfrm>
        </p:spPr>
        <p:txBody>
          <a:bodyPr anchor="t" anchorCtr="0"/>
          <a:lstStyle>
            <a:lvl1pPr>
              <a:defRPr sz="1693" b="0" i="0" baseline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187233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righ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283030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09844D38-0707-D040-9F57-DD207CC4DD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670B3DA3-FD1E-184D-AD00-B1FF533BFB99}"/>
              </a:ext>
            </a:extLst>
          </p:cNvPr>
          <p:cNvSpPr txBox="1">
            <a:spLocks/>
          </p:cNvSpPr>
          <p:nvPr userDrawn="1"/>
        </p:nvSpPr>
        <p:spPr>
          <a:xfrm>
            <a:off x="7352989" y="761979"/>
            <a:ext cx="4267800" cy="5714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86401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600" b="0" i="0" kern="1200" spc="-10" baseline="0">
                <a:solidFill>
                  <a:schemeClr val="bg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1693"/>
              <a:t>CLICK TO EDIT SLIDE TITLE</a:t>
            </a:r>
            <a:endParaRPr lang="en-US" sz="1693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3BB8D3A-E485-CB44-9277-D108034143EF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254374" y="1058919"/>
            <a:ext cx="4267800" cy="4858717"/>
          </a:xfrm>
          <a:prstGeom prst="rect">
            <a:avLst/>
          </a:prstGeom>
        </p:spPr>
        <p:txBody>
          <a:bodyPr/>
          <a:lstStyle>
            <a:lvl1pPr>
              <a:spcAft>
                <a:spcPts val="847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847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847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847"/>
              </a:spcAft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670B3DA3-FD1E-184D-AD00-B1FF533BFB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54363" y="493036"/>
            <a:ext cx="4267800" cy="551540"/>
          </a:xfrm>
        </p:spPr>
        <p:txBody>
          <a:bodyPr anchor="t" anchorCtr="0"/>
          <a:lstStyle>
            <a:lvl1pPr>
              <a:defRPr sz="1693" b="0" i="0" baseline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6537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3.vml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0968533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4315" y="636494"/>
            <a:ext cx="11048532" cy="40986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4315" y="1806572"/>
            <a:ext cx="2000165" cy="41917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0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5" y="286870"/>
            <a:ext cx="3809839" cy="1961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GB" dirty="0"/>
              <a:t>CLICK TO INSERT DOCUMENT /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882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80" r:id="rId3"/>
    <p:sldLayoutId id="2147483663" r:id="rId4"/>
    <p:sldLayoutId id="2147483665" r:id="rId5"/>
    <p:sldLayoutId id="2147483681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89" rtl="0" eaLnBrk="1" latinLnBrk="0" hangingPunct="1">
        <a:lnSpc>
          <a:spcPct val="85000"/>
        </a:lnSpc>
        <a:spcBef>
          <a:spcPct val="0"/>
        </a:spcBef>
        <a:buNone/>
        <a:defRPr sz="1693" b="0" i="0" kern="1200" spc="-11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0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33346" indent="-133346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Char char="•"/>
        <a:defRPr sz="120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80988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0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71482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0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761976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0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514569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4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58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2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56761320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93" b="0" i="0" baseline="0" dirty="0"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4315" y="666732"/>
            <a:ext cx="11048532" cy="3796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slide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0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5" y="224348"/>
            <a:ext cx="3809839" cy="258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r>
              <a:rPr lang="en-GB"/>
              <a:t>CLICK TO INSERT DOCUMENT /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9339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86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89" rtl="0" eaLnBrk="1" latinLnBrk="0" hangingPunct="1">
        <a:lnSpc>
          <a:spcPct val="85000"/>
        </a:lnSpc>
        <a:spcBef>
          <a:spcPct val="0"/>
        </a:spcBef>
        <a:buNone/>
        <a:defRPr sz="1693" b="0" i="0" kern="1200" spc="-11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7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33346" indent="-133346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Char char="•"/>
        <a:defRPr sz="127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80988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7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71482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7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761976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270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514569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4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58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2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11530334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83855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2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5" y="358589"/>
            <a:ext cx="3809839" cy="18718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r>
              <a:rPr lang="en-US">
                <a:solidFill>
                  <a:srgbClr val="44474E"/>
                </a:solidFill>
              </a:rPr>
              <a:t>CLICK TO INSERT DOCUMENT / SECTION TITLE</a:t>
            </a:r>
            <a:endParaRPr lang="en-US" dirty="0">
              <a:solidFill>
                <a:srgbClr val="44474E"/>
              </a:solidFill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0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 defTabSz="483855">
              <a:defRPr/>
            </a:pPr>
            <a:fld id="{BB1AD9A7-13C2-8C4C-A126-3658DA8EF698}" type="slidenum">
              <a:rPr lang="en-US" sz="1905" smtClean="0">
                <a:solidFill>
                  <a:srgbClr val="44474E"/>
                </a:solidFill>
              </a:rPr>
              <a:pPr defTabSz="483855">
                <a:defRPr/>
              </a:pPr>
              <a:t>‹#›</a:t>
            </a:fld>
            <a:endParaRPr lang="en-US" sz="1905" dirty="0">
              <a:solidFill>
                <a:srgbClr val="4447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66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89" rtl="0" eaLnBrk="1" latinLnBrk="0" hangingPunct="1">
        <a:lnSpc>
          <a:spcPct val="85000"/>
        </a:lnSpc>
        <a:spcBef>
          <a:spcPct val="0"/>
        </a:spcBef>
        <a:buNone/>
        <a:defRPr sz="1693" b="0" i="0" kern="1200" spc="-11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005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33346" indent="-133346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Char char="•"/>
        <a:defRPr sz="1005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80988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005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71482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005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761976" indent="-190494" algn="l" defTabSz="914389" rtl="0" eaLnBrk="1" latinLnBrk="0" hangingPunct="1">
        <a:lnSpc>
          <a:spcPct val="110000"/>
        </a:lnSpc>
        <a:spcBef>
          <a:spcPts val="0"/>
        </a:spcBef>
        <a:spcAft>
          <a:spcPts val="423"/>
        </a:spcAft>
        <a:buFont typeface="Arial" panose="020B0604020202020204" pitchFamily="34" charset="0"/>
        <a:buNone/>
        <a:defRPr sz="1005" b="0" i="0" kern="1200" spc="-11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514569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4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58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2" indent="-228597" algn="l" defTabSz="9143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9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7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1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5" algn="l" defTabSz="914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8233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9468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87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85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0241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4949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003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8938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7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CLICK TO INSERT DOCUMENT / SECTION 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AD9A7-13C2-8C4C-A126-3658DA8EF69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7006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XpEyrsR86LGXFnwMjZ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XpEyrsR86LGXFnwMjZ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DEFAULT">
      <a:majorFont>
        <a:latin typeface="Bentley TT"/>
        <a:ea typeface=""/>
        <a:cs typeface=""/>
      </a:majorFont>
      <a:minorFont>
        <a:latin typeface="Bentley T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235C2238-ACBF-4897-AD72-9F4E9B870680}" vid="{826D3A10-27FD-4C87-B00E-5EE449CCFD57}"/>
    </a:ext>
  </a:extLst>
</a:theme>
</file>

<file path=ppt/theme/theme2.xml><?xml version="1.0" encoding="utf-8"?>
<a:theme xmlns:a="http://schemas.openxmlformats.org/drawingml/2006/main" name="2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DEFAULT">
      <a:majorFont>
        <a:latin typeface="Bentley TT"/>
        <a:ea typeface=""/>
        <a:cs typeface=""/>
      </a:majorFont>
      <a:minorFont>
        <a:latin typeface="Bentley T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235C2238-ACBF-4897-AD72-9F4E9B870680}" vid="{7463D6FC-5178-44BB-BA75-734184472F8F}"/>
    </a:ext>
  </a:extLst>
</a:theme>
</file>

<file path=ppt/theme/theme3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DEFAULT">
      <a:majorFont>
        <a:latin typeface="Bentley TT"/>
        <a:ea typeface=""/>
        <a:cs typeface=""/>
      </a:majorFont>
      <a:minorFont>
        <a:latin typeface="Bentley T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235C2238-ACBF-4897-AD72-9F4E9B870680}" vid="{A725E069-227B-4F3B-911B-EFE23E10272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Presentation</Template>
  <TotalTime>0</TotalTime>
  <Words>80</Words>
  <Application>Microsoft Office PowerPoint</Application>
  <PresentationFormat>Širokoúhlá obrazovka</PresentationFormat>
  <Paragraphs>20</Paragraphs>
  <Slides>10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0</vt:i4>
      </vt:variant>
    </vt:vector>
  </HeadingPairs>
  <TitlesOfParts>
    <vt:vector size="18" baseType="lpstr">
      <vt:lpstr>Arial</vt:lpstr>
      <vt:lpstr>Bentley</vt:lpstr>
      <vt:lpstr>Bentley Light</vt:lpstr>
      <vt:lpstr>Bentley SemiBold</vt:lpstr>
      <vt:lpstr>1_Office Theme</vt:lpstr>
      <vt:lpstr>2_Office Theme</vt:lpstr>
      <vt:lpstr>3_Office Them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9.09.05 Analyse internal vehicle quality, performance data and parts</dc:title>
  <dc:creator>Grace, Amy (GQT/F)</dc:creator>
  <cp:lastModifiedBy>Vajdik, Robert 2 (IDS Advisory s.r.o.)</cp:lastModifiedBy>
  <cp:revision>3</cp:revision>
  <dcterms:created xsi:type="dcterms:W3CDTF">2021-05-26T13:13:48Z</dcterms:created>
  <dcterms:modified xsi:type="dcterms:W3CDTF">2021-06-02T09:19:06Z</dcterms:modified>
</cp:coreProperties>
</file>